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0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57" r:id="rId8"/>
    <p:sldId id="2145705961" r:id="rId9"/>
    <p:sldId id="2145705962" r:id="rId10"/>
    <p:sldId id="2145705964" r:id="rId11"/>
    <p:sldId id="2145705966" r:id="rId12"/>
    <p:sldId id="2145705967" r:id="rId13"/>
    <p:sldId id="2145705968" r:id="rId14"/>
    <p:sldId id="2145705969" r:id="rId15"/>
    <p:sldId id="2145705954" r:id="rId16"/>
    <p:sldId id="2145705955" r:id="rId17"/>
    <p:sldId id="2145705956" r:id="rId18"/>
    <p:sldId id="309" r:id="rId19"/>
    <p:sldId id="310" r:id="rId20"/>
    <p:sldId id="311" r:id="rId21"/>
    <p:sldId id="312" r:id="rId22"/>
    <p:sldId id="313" r:id="rId23"/>
    <p:sldId id="314" r:id="rId24"/>
    <p:sldId id="315" r:id="rId25"/>
    <p:sldId id="316" r:id="rId26"/>
    <p:sldId id="317" r:id="rId27"/>
    <p:sldId id="318" r:id="rId28"/>
    <p:sldId id="319" r:id="rId2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E6F"/>
    <a:srgbClr val="B5F5CC"/>
    <a:srgbClr val="388C54"/>
    <a:srgbClr val="00F67B"/>
    <a:srgbClr val="00D269"/>
    <a:srgbClr val="00FF7F"/>
    <a:srgbClr val="006633"/>
    <a:srgbClr val="008040"/>
    <a:srgbClr val="356F47"/>
    <a:srgbClr val="348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4" autoAdjust="0"/>
    <p:restoredTop sz="95373" autoAdjust="0"/>
  </p:normalViewPr>
  <p:slideViewPr>
    <p:cSldViewPr snapToGrid="0">
      <p:cViewPr>
        <p:scale>
          <a:sx n="75" d="100"/>
          <a:sy n="75" d="100"/>
        </p:scale>
        <p:origin x="1057" y="24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8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0F138-E40B-4076-FE6B-803400172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C38F2-1C28-6B57-7165-F746022EF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953B64-7516-4533-E7EC-50A93A144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BC05A-8E84-35C1-579F-EBD2662937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4247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1.jp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4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31.jp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883239" y="169228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1451897"/>
            <a:chOff x="2196740" y="1520076"/>
            <a:chExt cx="6041678" cy="1451897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BD297-B5CE-778A-D4EE-76923799F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565767E-E78D-0CA2-9A23-9227E5F5155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6A7CE8-A439-6D78-DCC5-8EACFAF82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IN TRELLO SYSTEM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6C44AC-B70C-9CB2-1398-5CE34CBFC0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FD5FBFF-2649-F6D7-513F-CDB1FF3830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412DF6D-9729-7394-3C73-F992F27B3991}"/>
              </a:ext>
            </a:extLst>
          </p:cNvPr>
          <p:cNvSpPr/>
          <p:nvPr/>
        </p:nvSpPr>
        <p:spPr>
          <a:xfrm>
            <a:off x="7253714" y="296140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Key</a:t>
            </a:r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3348C4-C04A-9279-2D57-E490920DC5C7}"/>
              </a:ext>
            </a:extLst>
          </p:cNvPr>
          <p:cNvGrpSpPr/>
          <p:nvPr/>
        </p:nvGrpSpPr>
        <p:grpSpPr>
          <a:xfrm>
            <a:off x="6816195" y="5137160"/>
            <a:ext cx="2156641" cy="738363"/>
            <a:chOff x="1824142" y="1141476"/>
            <a:chExt cx="2156641" cy="738363"/>
          </a:xfrm>
        </p:grpSpPr>
        <p:sp>
          <p:nvSpPr>
            <p:cNvPr id="35" name="Google Shape;229;g370fc456c4b_0_4">
              <a:extLst>
                <a:ext uri="{FF2B5EF4-FFF2-40B4-BE49-F238E27FC236}">
                  <a16:creationId xmlns:a16="http://schemas.microsoft.com/office/drawing/2014/main" id="{005689A7-2AF4-1C34-EB08-3B8BB74EE47C}"/>
                </a:ext>
              </a:extLst>
            </p:cNvPr>
            <p:cNvSpPr/>
            <p:nvPr/>
          </p:nvSpPr>
          <p:spPr>
            <a:xfrm>
              <a:off x="1824142" y="1648793"/>
              <a:ext cx="403090" cy="2310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81A72925-9FAE-D482-AA8E-9EA40EF70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7232" y="1291011"/>
              <a:ext cx="473371" cy="47330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6EEB45F-B551-A714-2C6D-7783DC7C9B15}"/>
                </a:ext>
              </a:extLst>
            </p:cNvPr>
            <p:cNvSpPr/>
            <p:nvPr/>
          </p:nvSpPr>
          <p:spPr>
            <a:xfrm>
              <a:off x="2724746" y="1141476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FEFFC774-081B-9DAE-B71C-48C2E8E98C33}"/>
              </a:ext>
            </a:extLst>
          </p:cNvPr>
          <p:cNvSpPr/>
          <p:nvPr/>
        </p:nvSpPr>
        <p:spPr>
          <a:xfrm>
            <a:off x="0" y="1153355"/>
            <a:ext cx="6056005" cy="573223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527AC34-7E2A-F942-58FA-7EC0B89B15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69519184-0530-7E20-FD6C-BE0781B65D33}"/>
              </a:ext>
            </a:extLst>
          </p:cNvPr>
          <p:cNvGrpSpPr/>
          <p:nvPr/>
        </p:nvGrpSpPr>
        <p:grpSpPr>
          <a:xfrm>
            <a:off x="6601547" y="3970238"/>
            <a:ext cx="2323214" cy="287472"/>
            <a:chOff x="6582442" y="4325272"/>
            <a:chExt cx="2323214" cy="287472"/>
          </a:xfrm>
        </p:grpSpPr>
        <p:sp>
          <p:nvSpPr>
            <p:cNvPr id="52" name="Google Shape;229;g370fc456c4b_0_4">
              <a:extLst>
                <a:ext uri="{FF2B5EF4-FFF2-40B4-BE49-F238E27FC236}">
                  <a16:creationId xmlns:a16="http://schemas.microsoft.com/office/drawing/2014/main" id="{E243B561-E878-717F-125B-20F52332A6E4}"/>
                </a:ext>
              </a:extLst>
            </p:cNvPr>
            <p:cNvSpPr/>
            <p:nvPr/>
          </p:nvSpPr>
          <p:spPr>
            <a:xfrm>
              <a:off x="6582442" y="4347556"/>
              <a:ext cx="979552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3" name="Google Shape;230;g370fc456c4b_0_4">
              <a:extLst>
                <a:ext uri="{FF2B5EF4-FFF2-40B4-BE49-F238E27FC236}">
                  <a16:creationId xmlns:a16="http://schemas.microsoft.com/office/drawing/2014/main" id="{7AD7B278-5F54-0E0C-1FE9-A2983CBE304C}"/>
                </a:ext>
              </a:extLst>
            </p:cNvPr>
            <p:cNvCxnSpPr>
              <a:cxnSpLocks/>
              <a:endCxn id="52" idx="3"/>
            </p:cNvCxnSpPr>
            <p:nvPr/>
          </p:nvCxnSpPr>
          <p:spPr>
            <a:xfrm flipH="1">
              <a:off x="7561994" y="4469008"/>
              <a:ext cx="453842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238DDEFC-7C88-9CFD-08CA-6ED437F74A6E}"/>
                </a:ext>
              </a:extLst>
            </p:cNvPr>
            <p:cNvSpPr/>
            <p:nvPr/>
          </p:nvSpPr>
          <p:spPr>
            <a:xfrm>
              <a:off x="8026126" y="4325272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A5996BA4-0924-E453-715A-CF158E620679}"/>
              </a:ext>
            </a:extLst>
          </p:cNvPr>
          <p:cNvSpPr/>
          <p:nvPr/>
        </p:nvSpPr>
        <p:spPr>
          <a:xfrm>
            <a:off x="3730989" y="4170361"/>
            <a:ext cx="2234511" cy="36503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KeySettingOption</a:t>
            </a:r>
            <a:endParaRPr lang="en-US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D030035-D56C-75FD-EB1E-5F5667D02B83}"/>
              </a:ext>
            </a:extLst>
          </p:cNvPr>
          <p:cNvSpPr/>
          <p:nvPr/>
        </p:nvSpPr>
        <p:spPr>
          <a:xfrm>
            <a:off x="10362603" y="148713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6436017-8F64-64D8-7464-290B787D480E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332E325B-3882-0930-303E-61FA671C7A6A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AD861A6F-4461-89FC-E06F-EBB331906C62}"/>
              </a:ext>
            </a:extLst>
          </p:cNvPr>
          <p:cNvSpPr/>
          <p:nvPr/>
        </p:nvSpPr>
        <p:spPr>
          <a:xfrm>
            <a:off x="6135997" y="1153355"/>
            <a:ext cx="3149258" cy="5704645"/>
          </a:xfrm>
          <a:prstGeom prst="rect">
            <a:avLst/>
          </a:prstGeom>
          <a:noFill/>
          <a:ln w="28575" cap="flat" cmpd="sng">
            <a:solidFill>
              <a:srgbClr val="00DE6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9610686-2697-AAA6-2008-A1B5BD5A4815}"/>
              </a:ext>
            </a:extLst>
          </p:cNvPr>
          <p:cNvGrpSpPr/>
          <p:nvPr/>
        </p:nvGrpSpPr>
        <p:grpSpPr>
          <a:xfrm>
            <a:off x="5410863" y="6058913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23B17F60-DB2B-964E-5132-E14E5B707672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9418AEC8-4A29-77A2-418C-36F91EA69FC5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7D880AE5-692C-CFD4-A7FE-FAA670AC4292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8599D83-4D78-27D6-2003-29EEE7BA0FA0}"/>
              </a:ext>
            </a:extLst>
          </p:cNvPr>
          <p:cNvGrpSpPr/>
          <p:nvPr/>
        </p:nvGrpSpPr>
        <p:grpSpPr>
          <a:xfrm>
            <a:off x="9341878" y="1126407"/>
            <a:ext cx="2811692" cy="5732230"/>
            <a:chOff x="1824142" y="1648793"/>
            <a:chExt cx="2811692" cy="5732230"/>
          </a:xfrm>
        </p:grpSpPr>
        <p:sp>
          <p:nvSpPr>
            <p:cNvPr id="91" name="Google Shape;229;g370fc456c4b_0_4">
              <a:extLst>
                <a:ext uri="{FF2B5EF4-FFF2-40B4-BE49-F238E27FC236}">
                  <a16:creationId xmlns:a16="http://schemas.microsoft.com/office/drawing/2014/main" id="{5CB697B6-CACB-F8E1-2767-E648FEDAC8E8}"/>
                </a:ext>
              </a:extLst>
            </p:cNvPr>
            <p:cNvSpPr/>
            <p:nvPr/>
          </p:nvSpPr>
          <p:spPr>
            <a:xfrm>
              <a:off x="1824142" y="1648793"/>
              <a:ext cx="2811692" cy="57322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2" name="Google Shape;230;g370fc456c4b_0_4">
              <a:extLst>
                <a:ext uri="{FF2B5EF4-FFF2-40B4-BE49-F238E27FC236}">
                  <a16:creationId xmlns:a16="http://schemas.microsoft.com/office/drawing/2014/main" id="{DDB265CC-7044-8EFF-312E-2C51020AE40D}"/>
                </a:ext>
              </a:extLst>
            </p:cNvPr>
            <p:cNvCxnSpPr>
              <a:cxnSpLocks/>
              <a:stCxn id="93" idx="1"/>
            </p:cNvCxnSpPr>
            <p:nvPr/>
          </p:nvCxnSpPr>
          <p:spPr>
            <a:xfrm flipH="1">
              <a:off x="2046783" y="3083452"/>
              <a:ext cx="403092" cy="46645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323F0772-CACC-97D4-786B-C8FF520C1C0F}"/>
                </a:ext>
              </a:extLst>
            </p:cNvPr>
            <p:cNvSpPr/>
            <p:nvPr/>
          </p:nvSpPr>
          <p:spPr>
            <a:xfrm>
              <a:off x="2449875" y="2939716"/>
              <a:ext cx="135195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F515F24F-A6F4-11C2-8B9B-63BE2489250D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F20AE62-42C9-815D-8958-44EEF5066B7B}"/>
              </a:ext>
            </a:extLst>
          </p:cNvPr>
          <p:cNvGrpSpPr/>
          <p:nvPr/>
        </p:nvGrpSpPr>
        <p:grpSpPr>
          <a:xfrm>
            <a:off x="6775628" y="5535390"/>
            <a:ext cx="2478997" cy="1238595"/>
            <a:chOff x="1824142" y="1181924"/>
            <a:chExt cx="2478997" cy="1238595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58780517-F2FF-7ED7-58E1-CF74BF95B94D}"/>
                </a:ext>
              </a:extLst>
            </p:cNvPr>
            <p:cNvSpPr/>
            <p:nvPr/>
          </p:nvSpPr>
          <p:spPr>
            <a:xfrm>
              <a:off x="1824142" y="1648792"/>
              <a:ext cx="1405846" cy="77172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58D50BC6-0E91-D4B1-180B-C8325ECCBD4B}"/>
                </a:ext>
              </a:extLst>
            </p:cNvPr>
            <p:cNvCxnSpPr>
              <a:cxnSpLocks/>
              <a:stCxn id="99" idx="2"/>
            </p:cNvCxnSpPr>
            <p:nvPr/>
          </p:nvCxnSpPr>
          <p:spPr>
            <a:xfrm flipH="1">
              <a:off x="3221720" y="1500843"/>
              <a:ext cx="374608" cy="54434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EE78D0E4-7A06-5590-D236-14DABE738252}"/>
                </a:ext>
              </a:extLst>
            </p:cNvPr>
            <p:cNvSpPr/>
            <p:nvPr/>
          </p:nvSpPr>
          <p:spPr>
            <a:xfrm>
              <a:off x="2889516" y="11819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97145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E463FC3-1DB0-95D6-229C-4DF0B3488B7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5902379" y="1753431"/>
            <a:ext cx="17771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225;g370fc456c4b_0_4">
            <a:extLst>
              <a:ext uri="{FF2B5EF4-FFF2-40B4-BE49-F238E27FC236}">
                <a16:creationId xmlns:a16="http://schemas.microsoft.com/office/drawing/2014/main" id="{41181921-74BA-0B20-EE41-83E7211D4DA8}"/>
              </a:ext>
            </a:extLst>
          </p:cNvPr>
          <p:cNvSpPr txBox="1"/>
          <p:nvPr/>
        </p:nvSpPr>
        <p:spPr>
          <a:xfrm>
            <a:off x="5918603" y="1703615"/>
            <a:ext cx="1760892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1541409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 flipH="1">
            <a:off x="5423746" y="1912933"/>
            <a:ext cx="478633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79" name="Google Shape;229;g370fc456c4b_0_4">
            <a:extLst>
              <a:ext uri="{FF2B5EF4-FFF2-40B4-BE49-F238E27FC236}">
                <a16:creationId xmlns:a16="http://schemas.microsoft.com/office/drawing/2014/main" id="{F4FEBCBE-082C-86C3-59DE-19D8AD322BD3}"/>
              </a:ext>
            </a:extLst>
          </p:cNvPr>
          <p:cNvSpPr/>
          <p:nvPr/>
        </p:nvSpPr>
        <p:spPr>
          <a:xfrm>
            <a:off x="3882337" y="2250484"/>
            <a:ext cx="892421" cy="914135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80" name="Google Shape;229;g370fc456c4b_0_4">
            <a:extLst>
              <a:ext uri="{FF2B5EF4-FFF2-40B4-BE49-F238E27FC236}">
                <a16:creationId xmlns:a16="http://schemas.microsoft.com/office/drawing/2014/main" id="{9AF5BC69-9F7D-233C-5541-3AA2F2824E90}"/>
              </a:ext>
            </a:extLst>
          </p:cNvPr>
          <p:cNvSpPr/>
          <p:nvPr/>
        </p:nvSpPr>
        <p:spPr>
          <a:xfrm>
            <a:off x="3868010" y="3958536"/>
            <a:ext cx="2202511" cy="113070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81" name="Google Shape;230;g370fc456c4b_0_4">
            <a:extLst>
              <a:ext uri="{FF2B5EF4-FFF2-40B4-BE49-F238E27FC236}">
                <a16:creationId xmlns:a16="http://schemas.microsoft.com/office/drawing/2014/main" id="{F355564D-787F-6642-E26A-29391E52CF92}"/>
              </a:ext>
            </a:extLst>
          </p:cNvPr>
          <p:cNvCxnSpPr>
            <a:cxnSpLocks/>
          </p:cNvCxnSpPr>
          <p:nvPr/>
        </p:nvCxnSpPr>
        <p:spPr>
          <a:xfrm flipV="1">
            <a:off x="3504778" y="4523890"/>
            <a:ext cx="350441" cy="24539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8EEC326-FE5B-0E4B-87E5-BA0A6E6C7827}"/>
              </a:ext>
            </a:extLst>
          </p:cNvPr>
          <p:cNvGrpSpPr/>
          <p:nvPr/>
        </p:nvGrpSpPr>
        <p:grpSpPr>
          <a:xfrm>
            <a:off x="3974733" y="5096038"/>
            <a:ext cx="2634532" cy="355118"/>
            <a:chOff x="3514477" y="5039900"/>
            <a:chExt cx="2634532" cy="355118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833036AF-6DA1-FD23-89DE-802CCC316AE1}"/>
                </a:ext>
              </a:extLst>
            </p:cNvPr>
            <p:cNvSpPr/>
            <p:nvPr/>
          </p:nvSpPr>
          <p:spPr>
            <a:xfrm>
              <a:off x="3514477" y="5155098"/>
              <a:ext cx="1264257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43141398-ED1C-DB87-5B61-7BB74D4BF7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8734" y="524842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DF4116D-95CA-295E-EF21-46A88B8E90D1}"/>
                </a:ext>
              </a:extLst>
            </p:cNvPr>
            <p:cNvSpPr/>
            <p:nvPr/>
          </p:nvSpPr>
          <p:spPr>
            <a:xfrm>
              <a:off x="5048758" y="508971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Google Shape;225;g370fc456c4b_0_4">
              <a:extLst>
                <a:ext uri="{FF2B5EF4-FFF2-40B4-BE49-F238E27FC236}">
                  <a16:creationId xmlns:a16="http://schemas.microsoft.com/office/drawing/2014/main" id="{7BA1C271-359B-7489-1734-834E87DD8829}"/>
                </a:ext>
              </a:extLst>
            </p:cNvPr>
            <p:cNvSpPr txBox="1"/>
            <p:nvPr/>
          </p:nvSpPr>
          <p:spPr>
            <a:xfrm>
              <a:off x="5064982" y="503990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723949" y="5836850"/>
            <a:ext cx="1701978" cy="355118"/>
            <a:chOff x="2235472" y="5051827"/>
            <a:chExt cx="1701978" cy="355118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endCxn id="88" idx="1"/>
            </p:cNvCxnSpPr>
            <p:nvPr/>
          </p:nvCxnSpPr>
          <p:spPr>
            <a:xfrm>
              <a:off x="3331747" y="5262898"/>
              <a:ext cx="18273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2235472" y="5101643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Google Shape;225;g370fc456c4b_0_4">
              <a:extLst>
                <a:ext uri="{FF2B5EF4-FFF2-40B4-BE49-F238E27FC236}">
                  <a16:creationId xmlns:a16="http://schemas.microsoft.com/office/drawing/2014/main" id="{EECD44CB-A32D-6AAD-D714-8B6750419BD8}"/>
                </a:ext>
              </a:extLst>
            </p:cNvPr>
            <p:cNvSpPr txBox="1"/>
            <p:nvPr/>
          </p:nvSpPr>
          <p:spPr>
            <a:xfrm>
              <a:off x="2251696" y="5051827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64A08F6-2893-A213-E555-DA78D21781FD}"/>
              </a:ext>
            </a:extLst>
          </p:cNvPr>
          <p:cNvGrpSpPr/>
          <p:nvPr/>
        </p:nvGrpSpPr>
        <p:grpSpPr>
          <a:xfrm>
            <a:off x="4425927" y="5842527"/>
            <a:ext cx="1761519" cy="355118"/>
            <a:chOff x="3514477" y="5041066"/>
            <a:chExt cx="1761519" cy="355118"/>
          </a:xfrm>
        </p:grpSpPr>
        <p:sp>
          <p:nvSpPr>
            <p:cNvPr id="93" name="Google Shape;229;g370fc456c4b_0_4">
              <a:extLst>
                <a:ext uri="{FF2B5EF4-FFF2-40B4-BE49-F238E27FC236}">
                  <a16:creationId xmlns:a16="http://schemas.microsoft.com/office/drawing/2014/main" id="{C00F6495-1CC1-A264-FB19-D6DE47A96FF7}"/>
                </a:ext>
              </a:extLst>
            </p:cNvPr>
            <p:cNvSpPr/>
            <p:nvPr/>
          </p:nvSpPr>
          <p:spPr>
            <a:xfrm>
              <a:off x="3514477" y="5162640"/>
              <a:ext cx="465311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4" name="Google Shape;230;g370fc456c4b_0_4">
              <a:extLst>
                <a:ext uri="{FF2B5EF4-FFF2-40B4-BE49-F238E27FC236}">
                  <a16:creationId xmlns:a16="http://schemas.microsoft.com/office/drawing/2014/main" id="{2E0E37B9-3EE5-0F4B-FE03-4D689CF52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3139D3E-1C9D-D7BF-611B-D6D91E80DE47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oogle Shape;225;g370fc456c4b_0_4">
              <a:extLst>
                <a:ext uri="{FF2B5EF4-FFF2-40B4-BE49-F238E27FC236}">
                  <a16:creationId xmlns:a16="http://schemas.microsoft.com/office/drawing/2014/main" id="{ADC7C106-248C-FC88-B32E-C820BE68A9E3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2EAF277-3A9D-627E-5740-D472E40CDEC1}"/>
              </a:ext>
            </a:extLst>
          </p:cNvPr>
          <p:cNvGrpSpPr/>
          <p:nvPr/>
        </p:nvGrpSpPr>
        <p:grpSpPr>
          <a:xfrm>
            <a:off x="2309643" y="5354676"/>
            <a:ext cx="3592736" cy="501494"/>
            <a:chOff x="1870040" y="4969284"/>
            <a:chExt cx="3592736" cy="501494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E38FE07-A422-8FC4-A74B-5C78020CBC2B}"/>
                </a:ext>
              </a:extLst>
            </p:cNvPr>
            <p:cNvSpPr/>
            <p:nvPr/>
          </p:nvSpPr>
          <p:spPr>
            <a:xfrm>
              <a:off x="3514478" y="5174568"/>
              <a:ext cx="1948298" cy="29621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A73B4519-6122-F132-B254-83AFB3FA6E4D}"/>
                </a:ext>
              </a:extLst>
            </p:cNvPr>
            <p:cNvCxnSpPr>
              <a:cxnSpLocks/>
              <a:stCxn id="100" idx="3"/>
              <a:endCxn id="98" idx="1"/>
            </p:cNvCxnSpPr>
            <p:nvPr/>
          </p:nvCxnSpPr>
          <p:spPr>
            <a:xfrm>
              <a:off x="2966315" y="5171751"/>
              <a:ext cx="548163" cy="15092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A9F18237-F4C5-0806-A8FF-CB6EBC4723E2}"/>
                </a:ext>
              </a:extLst>
            </p:cNvPr>
            <p:cNvSpPr/>
            <p:nvPr/>
          </p:nvSpPr>
          <p:spPr>
            <a:xfrm>
              <a:off x="1870040" y="5019100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Google Shape;225;g370fc456c4b_0_4">
              <a:extLst>
                <a:ext uri="{FF2B5EF4-FFF2-40B4-BE49-F238E27FC236}">
                  <a16:creationId xmlns:a16="http://schemas.microsoft.com/office/drawing/2014/main" id="{CD8C5640-D974-195E-CD20-AE99056EB8B4}"/>
                </a:ext>
              </a:extLst>
            </p:cNvPr>
            <p:cNvSpPr txBox="1"/>
            <p:nvPr/>
          </p:nvSpPr>
          <p:spPr>
            <a:xfrm>
              <a:off x="1886264" y="4969284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3910577" y="3506956"/>
            <a:ext cx="3702133" cy="355118"/>
            <a:chOff x="3514477" y="5043705"/>
            <a:chExt cx="3702133" cy="35511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155098"/>
              <a:ext cx="2329878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3346" y="524813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6116359" y="509352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Google Shape;225;g370fc456c4b_0_4">
              <a:extLst>
                <a:ext uri="{FF2B5EF4-FFF2-40B4-BE49-F238E27FC236}">
                  <a16:creationId xmlns:a16="http://schemas.microsoft.com/office/drawing/2014/main" id="{EC0F61F3-2BA5-500A-C8BC-9AD50263B90F}"/>
                </a:ext>
              </a:extLst>
            </p:cNvPr>
            <p:cNvSpPr txBox="1"/>
            <p:nvPr/>
          </p:nvSpPr>
          <p:spPr>
            <a:xfrm>
              <a:off x="6132583" y="504370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F60F5-CE61-3C1C-2EEF-68C1D4CD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1B5EFF-087B-C317-EE86-2496106FE11F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0E7303-2EE5-BEC2-4B0F-FA79B0975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16BF11-1A7D-4865-7F4C-8AAB1ABC2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98000"/>
            <a:ext cx="12228057" cy="689768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A8DC18D-EA57-4A65-FF4A-445CF93C2A15}"/>
              </a:ext>
            </a:extLst>
          </p:cNvPr>
          <p:cNvGrpSpPr/>
          <p:nvPr/>
        </p:nvGrpSpPr>
        <p:grpSpPr>
          <a:xfrm>
            <a:off x="2461008" y="1439107"/>
            <a:ext cx="1100251" cy="1498899"/>
            <a:chOff x="3226445" y="4121583"/>
            <a:chExt cx="1100251" cy="1498899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E299029F-01A6-1C5E-D757-E58A00C1651E}"/>
                </a:ext>
              </a:extLst>
            </p:cNvPr>
            <p:cNvSpPr/>
            <p:nvPr/>
          </p:nvSpPr>
          <p:spPr>
            <a:xfrm>
              <a:off x="3514477" y="5155097"/>
              <a:ext cx="479190" cy="4653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453A25F7-DF91-D8B0-BA50-63A57D056392}"/>
                </a:ext>
              </a:extLst>
            </p:cNvPr>
            <p:cNvCxnSpPr>
              <a:cxnSpLocks/>
            </p:cNvCxnSpPr>
            <p:nvPr/>
          </p:nvCxnSpPr>
          <p:spPr>
            <a:xfrm>
              <a:off x="3758178" y="4515252"/>
              <a:ext cx="0" cy="63984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5685869-8804-4367-577A-8534C55BF6B9}"/>
                </a:ext>
              </a:extLst>
            </p:cNvPr>
            <p:cNvSpPr/>
            <p:nvPr/>
          </p:nvSpPr>
          <p:spPr>
            <a:xfrm>
              <a:off x="3226445" y="417139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oogle Shape;225;g370fc456c4b_0_4">
              <a:extLst>
                <a:ext uri="{FF2B5EF4-FFF2-40B4-BE49-F238E27FC236}">
                  <a16:creationId xmlns:a16="http://schemas.microsoft.com/office/drawing/2014/main" id="{F86F7E0F-A1B2-5B3B-94D7-0873EBF330B2}"/>
                </a:ext>
              </a:extLst>
            </p:cNvPr>
            <p:cNvSpPr txBox="1"/>
            <p:nvPr/>
          </p:nvSpPr>
          <p:spPr>
            <a:xfrm>
              <a:off x="3242669" y="4121583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C6699-C91C-212E-B8B1-11EFEBAD5824}"/>
              </a:ext>
            </a:extLst>
          </p:cNvPr>
          <p:cNvGrpSpPr/>
          <p:nvPr/>
        </p:nvGrpSpPr>
        <p:grpSpPr>
          <a:xfrm>
            <a:off x="3287483" y="2515038"/>
            <a:ext cx="3130026" cy="355118"/>
            <a:chOff x="3514476" y="5061816"/>
            <a:chExt cx="3130026" cy="355118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E321639E-9FCB-8051-766D-DC1262E3A0E2}"/>
                </a:ext>
              </a:extLst>
            </p:cNvPr>
            <p:cNvSpPr/>
            <p:nvPr/>
          </p:nvSpPr>
          <p:spPr>
            <a:xfrm>
              <a:off x="3514476" y="5155098"/>
              <a:ext cx="1610515" cy="2183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621A5E58-6A8B-8317-2AD1-37D61883D509}"/>
                </a:ext>
              </a:extLst>
            </p:cNvPr>
            <p:cNvCxnSpPr>
              <a:cxnSpLocks/>
              <a:stCxn id="19" idx="1"/>
              <a:endCxn id="17" idx="3"/>
            </p:cNvCxnSpPr>
            <p:nvPr/>
          </p:nvCxnSpPr>
          <p:spPr>
            <a:xfrm flipH="1">
              <a:off x="5124991" y="5264283"/>
              <a:ext cx="4192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9DAE58-843B-ABB5-DBBC-A80693FC7BE2}"/>
                </a:ext>
              </a:extLst>
            </p:cNvPr>
            <p:cNvSpPr/>
            <p:nvPr/>
          </p:nvSpPr>
          <p:spPr>
            <a:xfrm>
              <a:off x="5544251" y="511163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oogle Shape;225;g370fc456c4b_0_4">
              <a:extLst>
                <a:ext uri="{FF2B5EF4-FFF2-40B4-BE49-F238E27FC236}">
                  <a16:creationId xmlns:a16="http://schemas.microsoft.com/office/drawing/2014/main" id="{224687C1-6A70-B8B9-A9DE-5D1E0EC59A06}"/>
                </a:ext>
              </a:extLst>
            </p:cNvPr>
            <p:cNvSpPr txBox="1"/>
            <p:nvPr/>
          </p:nvSpPr>
          <p:spPr>
            <a:xfrm>
              <a:off x="5560475" y="506181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83F008-CE2C-1814-52EA-2383754A8D0B}"/>
              </a:ext>
            </a:extLst>
          </p:cNvPr>
          <p:cNvGrpSpPr/>
          <p:nvPr/>
        </p:nvGrpSpPr>
        <p:grpSpPr>
          <a:xfrm>
            <a:off x="1094525" y="4600197"/>
            <a:ext cx="3743289" cy="381156"/>
            <a:chOff x="1765466" y="5131320"/>
            <a:chExt cx="3743289" cy="3811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56D8CA4B-1FA7-520A-EC3F-3353CB3F4866}"/>
                </a:ext>
              </a:extLst>
            </p:cNvPr>
            <p:cNvSpPr/>
            <p:nvPr/>
          </p:nvSpPr>
          <p:spPr>
            <a:xfrm>
              <a:off x="3514476" y="5155098"/>
              <a:ext cx="1994279" cy="3573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7214E54F-DE37-5A29-CE81-BAF0227284AA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2917184" y="5333787"/>
              <a:ext cx="597292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D0697A0-3660-2691-21C3-571112FEE91D}"/>
                </a:ext>
              </a:extLst>
            </p:cNvPr>
            <p:cNvSpPr/>
            <p:nvPr/>
          </p:nvSpPr>
          <p:spPr>
            <a:xfrm>
              <a:off x="1765466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E140C43C-5515-5936-09CA-E5E70F7BD47F}"/>
                </a:ext>
              </a:extLst>
            </p:cNvPr>
            <p:cNvSpPr txBox="1"/>
            <p:nvPr/>
          </p:nvSpPr>
          <p:spPr>
            <a:xfrm>
              <a:off x="1781690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2B4ECC-298E-ED88-1E4A-59F9B3E395AA}"/>
              </a:ext>
            </a:extLst>
          </p:cNvPr>
          <p:cNvGrpSpPr/>
          <p:nvPr/>
        </p:nvGrpSpPr>
        <p:grpSpPr>
          <a:xfrm>
            <a:off x="1094525" y="4990351"/>
            <a:ext cx="3127618" cy="355118"/>
            <a:chOff x="1602433" y="5131320"/>
            <a:chExt cx="3127618" cy="355118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ED731398-A7B4-ACFC-87EB-71FEAD92319D}"/>
                </a:ext>
              </a:extLst>
            </p:cNvPr>
            <p:cNvSpPr/>
            <p:nvPr/>
          </p:nvSpPr>
          <p:spPr>
            <a:xfrm>
              <a:off x="3514476" y="5155098"/>
              <a:ext cx="1215575" cy="1383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6D5E8582-1BBB-F3E9-0F1E-9126749A9691}"/>
                </a:ext>
              </a:extLst>
            </p:cNvPr>
            <p:cNvCxnSpPr>
              <a:cxnSpLocks/>
              <a:endCxn id="37" idx="1"/>
            </p:cNvCxnSpPr>
            <p:nvPr/>
          </p:nvCxnSpPr>
          <p:spPr>
            <a:xfrm flipV="1">
              <a:off x="2754151" y="5224255"/>
              <a:ext cx="760325" cy="10193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2480514-CF5C-6475-3725-BDA4B0D2EBA9}"/>
                </a:ext>
              </a:extLst>
            </p:cNvPr>
            <p:cNvSpPr/>
            <p:nvPr/>
          </p:nvSpPr>
          <p:spPr>
            <a:xfrm>
              <a:off x="1602433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Google Shape;225;g370fc456c4b_0_4">
              <a:extLst>
                <a:ext uri="{FF2B5EF4-FFF2-40B4-BE49-F238E27FC236}">
                  <a16:creationId xmlns:a16="http://schemas.microsoft.com/office/drawing/2014/main" id="{F39843C7-5C6D-A725-9463-8054BE691C31}"/>
                </a:ext>
              </a:extLst>
            </p:cNvPr>
            <p:cNvSpPr txBox="1"/>
            <p:nvPr/>
          </p:nvSpPr>
          <p:spPr>
            <a:xfrm>
              <a:off x="1618657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68BA70-523B-0D7B-13C5-53942D22BD4C}"/>
              </a:ext>
            </a:extLst>
          </p:cNvPr>
          <p:cNvGrpSpPr/>
          <p:nvPr/>
        </p:nvGrpSpPr>
        <p:grpSpPr>
          <a:xfrm>
            <a:off x="1090549" y="5535815"/>
            <a:ext cx="2247673" cy="355118"/>
            <a:chOff x="1689777" y="5071451"/>
            <a:chExt cx="2247673" cy="355118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F2747F17-E796-E962-2683-40C597CDA751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BFCC78FE-8DE9-6D7D-DF64-6483AEC84A56}"/>
                </a:ext>
              </a:extLst>
            </p:cNvPr>
            <p:cNvCxnSpPr>
              <a:cxnSpLocks/>
              <a:endCxn id="46" idx="1"/>
            </p:cNvCxnSpPr>
            <p:nvPr/>
          </p:nvCxnSpPr>
          <p:spPr>
            <a:xfrm>
              <a:off x="2790028" y="5262898"/>
              <a:ext cx="72445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8675FF0-8F2E-5285-54FA-0B980D1A9F80}"/>
                </a:ext>
              </a:extLst>
            </p:cNvPr>
            <p:cNvSpPr/>
            <p:nvPr/>
          </p:nvSpPr>
          <p:spPr>
            <a:xfrm>
              <a:off x="1689777" y="5121267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Google Shape;225;g370fc456c4b_0_4">
              <a:extLst>
                <a:ext uri="{FF2B5EF4-FFF2-40B4-BE49-F238E27FC236}">
                  <a16:creationId xmlns:a16="http://schemas.microsoft.com/office/drawing/2014/main" id="{3066B995-5DA8-D945-597A-CF37A6BFEDD5}"/>
                </a:ext>
              </a:extLst>
            </p:cNvPr>
            <p:cNvSpPr txBox="1"/>
            <p:nvPr/>
          </p:nvSpPr>
          <p:spPr>
            <a:xfrm>
              <a:off x="1706001" y="5071451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2C0EE9C-AD9C-4AFC-41F1-DADD9115DEF4}"/>
              </a:ext>
            </a:extLst>
          </p:cNvPr>
          <p:cNvGrpSpPr/>
          <p:nvPr/>
        </p:nvGrpSpPr>
        <p:grpSpPr>
          <a:xfrm>
            <a:off x="3391231" y="5505241"/>
            <a:ext cx="1790375" cy="355118"/>
            <a:chOff x="3485621" y="5041066"/>
            <a:chExt cx="1790375" cy="355118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114ABA63-FAF4-F120-4D4A-C2FD9AE9F0D8}"/>
                </a:ext>
              </a:extLst>
            </p:cNvPr>
            <p:cNvSpPr/>
            <p:nvPr/>
          </p:nvSpPr>
          <p:spPr>
            <a:xfrm>
              <a:off x="3485621" y="5174756"/>
              <a:ext cx="49416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2EE2D7CF-122B-9761-730D-DA861BD8F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E44C1AE-EBCC-9BA5-E98E-35A7BAC6A1AF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oogle Shape;225;g370fc456c4b_0_4">
              <a:extLst>
                <a:ext uri="{FF2B5EF4-FFF2-40B4-BE49-F238E27FC236}">
                  <a16:creationId xmlns:a16="http://schemas.microsoft.com/office/drawing/2014/main" id="{25112BE7-40EF-CC88-39E9-FC0E0F1FA345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8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D1FC-FC38-07DA-C4FD-547999F7DCB7}"/>
              </a:ext>
            </a:extLst>
          </p:cNvPr>
          <p:cNvGrpSpPr/>
          <p:nvPr/>
        </p:nvGrpSpPr>
        <p:grpSpPr>
          <a:xfrm>
            <a:off x="672890" y="3151310"/>
            <a:ext cx="8682866" cy="2608690"/>
            <a:chOff x="390930" y="5155098"/>
            <a:chExt cx="8682866" cy="2608690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3CF40D78-51E1-8C10-1E3E-C45641279F14}"/>
                </a:ext>
              </a:extLst>
            </p:cNvPr>
            <p:cNvSpPr/>
            <p:nvPr/>
          </p:nvSpPr>
          <p:spPr>
            <a:xfrm>
              <a:off x="3514476" y="5155098"/>
              <a:ext cx="5559320" cy="260869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6C4DD0E2-20FE-0706-B6A2-98C3C750A5CE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1491181" y="5748852"/>
              <a:ext cx="2023295" cy="71059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F67439C-DE74-D10D-C774-D9ED3DC8914F}"/>
                </a:ext>
              </a:extLst>
            </p:cNvPr>
            <p:cNvSpPr/>
            <p:nvPr/>
          </p:nvSpPr>
          <p:spPr>
            <a:xfrm>
              <a:off x="390930" y="559620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Google Shape;225;g370fc456c4b_0_4">
              <a:extLst>
                <a:ext uri="{FF2B5EF4-FFF2-40B4-BE49-F238E27FC236}">
                  <a16:creationId xmlns:a16="http://schemas.microsoft.com/office/drawing/2014/main" id="{A957BD9B-3768-9E7A-585A-D7A66A61E931}"/>
                </a:ext>
              </a:extLst>
            </p:cNvPr>
            <p:cNvSpPr txBox="1"/>
            <p:nvPr/>
          </p:nvSpPr>
          <p:spPr>
            <a:xfrm>
              <a:off x="407154" y="554638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4484536" y="1716022"/>
            <a:ext cx="3876588" cy="913517"/>
            <a:chOff x="4289643" y="4632868"/>
            <a:chExt cx="3876588" cy="913517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4289643" y="5254529"/>
              <a:ext cx="2011680" cy="2918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endCxn id="30" idx="3"/>
            </p:cNvCxnSpPr>
            <p:nvPr/>
          </p:nvCxnSpPr>
          <p:spPr>
            <a:xfrm flipH="1">
              <a:off x="6301323" y="4858573"/>
              <a:ext cx="747422" cy="54188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7065980" y="4682684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Google Shape;225;g370fc456c4b_0_4">
              <a:extLst>
                <a:ext uri="{FF2B5EF4-FFF2-40B4-BE49-F238E27FC236}">
                  <a16:creationId xmlns:a16="http://schemas.microsoft.com/office/drawing/2014/main" id="{3DAAE064-01CC-C2A7-7773-B66DC4A2EBEF}"/>
                </a:ext>
              </a:extLst>
            </p:cNvPr>
            <p:cNvSpPr txBox="1"/>
            <p:nvPr/>
          </p:nvSpPr>
          <p:spPr>
            <a:xfrm>
              <a:off x="7082204" y="4632868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8446623" y="2694202"/>
            <a:ext cx="2951479" cy="389309"/>
            <a:chOff x="4783420" y="5177968"/>
            <a:chExt cx="2951479" cy="389309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Google Shape;225;g370fc456c4b_0_4">
              <a:extLst>
                <a:ext uri="{FF2B5EF4-FFF2-40B4-BE49-F238E27FC236}">
                  <a16:creationId xmlns:a16="http://schemas.microsoft.com/office/drawing/2014/main" id="{AE7717E3-2547-A490-C707-46A23975180F}"/>
                </a:ext>
              </a:extLst>
            </p:cNvPr>
            <p:cNvSpPr txBox="1"/>
            <p:nvPr/>
          </p:nvSpPr>
          <p:spPr>
            <a:xfrm>
              <a:off x="4799644" y="5177968"/>
              <a:ext cx="678993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7CE13F6-9C0A-1C92-35AD-B37EA380E7D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IN TRELLO SYSTEM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C0D8BF-5625-2F6F-24CC-F8475F6FD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23192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2813611" y="2085727"/>
            <a:ext cx="2716123" cy="885991"/>
            <a:chOff x="4448434" y="2079846"/>
            <a:chExt cx="2716123" cy="885991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536317" y="2079846"/>
              <a:ext cx="1628240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endCxn id="16" idx="1"/>
            </p:cNvCxnSpPr>
            <p:nvPr/>
          </p:nvCxnSpPr>
          <p:spPr>
            <a:xfrm>
              <a:off x="5138251" y="2522842"/>
              <a:ext cx="3980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5629336" y="2689578"/>
            <a:ext cx="2408878" cy="287472"/>
            <a:chOff x="6480817" y="3947743"/>
            <a:chExt cx="24088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>
              <a:off x="6746048" y="4084914"/>
              <a:ext cx="141530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180264" y="3947743"/>
              <a:ext cx="7094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5619702" y="2087358"/>
            <a:ext cx="2471675" cy="602217"/>
            <a:chOff x="6480817" y="3994467"/>
            <a:chExt cx="2471675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stCxn id="65" idx="1"/>
              <a:endCxn id="63" idx="3"/>
            </p:cNvCxnSpPr>
            <p:nvPr/>
          </p:nvCxnSpPr>
          <p:spPr>
            <a:xfrm flipH="1">
              <a:off x="8011766" y="4280777"/>
              <a:ext cx="190326" cy="147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02092" y="4137041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ag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143656" y="2826748"/>
            <a:ext cx="2166199" cy="507759"/>
            <a:chOff x="3999404" y="2158819"/>
            <a:chExt cx="2166199" cy="507759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629286" cy="20849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 flipV="1">
              <a:off x="5138251" y="2263069"/>
              <a:ext cx="398066" cy="2597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3999404" y="2379106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699715" y="3426483"/>
            <a:ext cx="1216549" cy="384483"/>
            <a:chOff x="5499963" y="3994468"/>
            <a:chExt cx="1216549" cy="384483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 flipV="1">
              <a:off x="6163897" y="4084914"/>
              <a:ext cx="316920" cy="15030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499963" y="4091479"/>
              <a:ext cx="6567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675199" y="3427410"/>
            <a:ext cx="2171368" cy="843626"/>
            <a:chOff x="5199802" y="3994468"/>
            <a:chExt cx="2171368" cy="84362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890353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stCxn id="117" idx="3"/>
              <a:endCxn id="115" idx="2"/>
            </p:cNvCxnSpPr>
            <p:nvPr/>
          </p:nvCxnSpPr>
          <p:spPr>
            <a:xfrm flipV="1">
              <a:off x="5905631" y="4175360"/>
              <a:ext cx="1020363" cy="51899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5199802" y="4550622"/>
              <a:ext cx="705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B7BAF18-1F4B-C838-8C84-61EED0482B1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4AF4DA-433C-EB2A-2BE1-1FF9FE9E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85875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291549" y="2763671"/>
            <a:ext cx="1953534" cy="337288"/>
            <a:chOff x="4131428" y="1700415"/>
            <a:chExt cx="1953534" cy="3372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4131428" y="1831019"/>
              <a:ext cx="561892" cy="1537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4693320" y="1907882"/>
              <a:ext cx="2736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984869" y="1750231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Google Shape;225;g370fc456c4b_0_4">
              <a:extLst>
                <a:ext uri="{FF2B5EF4-FFF2-40B4-BE49-F238E27FC236}">
                  <a16:creationId xmlns:a16="http://schemas.microsoft.com/office/drawing/2014/main" id="{AE191378-EB32-26A0-2EF0-A293E4B36228}"/>
                </a:ext>
              </a:extLst>
            </p:cNvPr>
            <p:cNvSpPr txBox="1"/>
            <p:nvPr/>
          </p:nvSpPr>
          <p:spPr>
            <a:xfrm>
              <a:off x="5001094" y="1700415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32603" y="1373309"/>
            <a:ext cx="1363989" cy="723239"/>
            <a:chOff x="6500854" y="3831070"/>
            <a:chExt cx="1363989" cy="72323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791838" y="3831070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49913" y="1851113"/>
            <a:ext cx="1529262" cy="501202"/>
            <a:chOff x="5481381" y="4355580"/>
            <a:chExt cx="1529262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81381" y="4470024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514A98A-F397-0330-8322-C358D53A820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736E0-8726-DA0D-5247-D487F74E0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977246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79892" y="2718663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5421" y="2257200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8014862" y="3151687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1860141" cy="287472"/>
            <a:chOff x="6527964" y="4317286"/>
            <a:chExt cx="1860141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2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9" y="4317286"/>
              <a:ext cx="81200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By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14</TotalTime>
  <Words>2122</Words>
  <Application>Microsoft Office PowerPoint</Application>
  <PresentationFormat>Widescreen</PresentationFormat>
  <Paragraphs>381</Paragraphs>
  <Slides>28</Slides>
  <Notes>18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WORKSPACE IN TRELLO SYSTEM</vt:lpstr>
      <vt:lpstr>BOARD IN TRELLO SYSTEM</vt:lpstr>
      <vt:lpstr>CARD IN TRELLO SYSTEM</vt:lpstr>
      <vt:lpstr>CARD IN TRELLO SYSTEM</vt:lpstr>
      <vt:lpstr>CARD IN TRELLO SYSTEM</vt:lpstr>
      <vt:lpstr>WORKSPACE IN TRELLO SYSTEM</vt:lpstr>
      <vt:lpstr>SETTINGS IN TRELLO SYSTEM</vt:lpstr>
      <vt:lpstr>CARD IN TRELLO SYSTEM</vt:lpstr>
      <vt:lpstr>TEMPLATE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91</cp:revision>
  <dcterms:created xsi:type="dcterms:W3CDTF">2025-07-10T03:51:23Z</dcterms:created>
  <dcterms:modified xsi:type="dcterms:W3CDTF">2025-08-08T19:28:05Z</dcterms:modified>
</cp:coreProperties>
</file>